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210A1735-088F-402A-8C28-8456FEA7BA68}">
          <p14:sldIdLst>
            <p14:sldId id="2147475173"/>
            <p14:sldId id="2147475174"/>
            <p14:sldId id="2147475175"/>
            <p14:sldId id="2147475176"/>
            <p14:sldId id="2147475177"/>
            <p14:sldId id="2147475178"/>
          </p14:sldIdLst>
        </p14:section>
        <p14:section name="Brackets By Retailer By Sector" id="{F3382E36-DF36-4CF5-9575-6EAB8EDBB92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0F52D04-0D68-4CB1-AC48-E86C8A87239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891506821952563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78751536034012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71958934388501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89794850206542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904949718552068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314668210511141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9.325584622743983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235644019547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34778906377430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476051752909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14462086261064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375085520330023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941896014636484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155150524877055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251446252838476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62817327035301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3239082633107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50455563101571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50141091619643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3803780949932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257095611141257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15273084190692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94926235802969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5770789111860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441098646263186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82376663967480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0031105406566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175948410456020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341935612729960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632816902911265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7.200548776721844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34609551599965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6.764785442465831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2283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96991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9680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87437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7841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70307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1931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99535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6422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9617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3086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56978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74358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2315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3041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0925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3786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2094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1786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7079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71561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9532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2605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6748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8308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53999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8674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37736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3139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5765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06406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67268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2092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738645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210516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22682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124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9873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07875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959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0807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30612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47398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8464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8540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40331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2576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1207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23218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82955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5279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043028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41343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61305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2760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55011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511420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12760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882114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06959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07370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98530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7564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7341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14712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8064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237</Words>
  <Application>Microsoft Office PowerPoint</Application>
  <PresentationFormat>On-screen Show (16:9)</PresentationFormat>
  <Paragraphs>1094</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